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5"/>
  </p:notesMasterIdLst>
  <p:handoutMasterIdLst>
    <p:handoutMasterId r:id="rId6"/>
  </p:handoutMasterIdLst>
  <p:sldIdLst>
    <p:sldId id="256" r:id="rId2"/>
    <p:sldId id="347" r:id="rId3"/>
    <p:sldId id="343" r:id="rId4"/>
  </p:sldIdLst>
  <p:sldSz cx="9144000" cy="6858000" type="screen4x3"/>
  <p:notesSz cx="7099300" cy="102346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256"/>
            <p14:sldId id="347"/>
            <p14:sldId id="343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68" autoAdjust="0"/>
    <p:restoredTop sz="86627" autoAdjust="0"/>
  </p:normalViewPr>
  <p:slideViewPr>
    <p:cSldViewPr snapToObjects="1" showGuides="1">
      <p:cViewPr>
        <p:scale>
          <a:sx n="110" d="100"/>
          <a:sy n="110" d="100"/>
        </p:scale>
        <p:origin x="-629" y="293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224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0507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0507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0507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9938"/>
            <a:ext cx="5114925" cy="383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00" y="4861156"/>
            <a:ext cx="5680103" cy="4605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0507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C8B209A-4D97-4E33-9EEE-D04DE28C6E40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9DAFEA2-EBD0-477A-BA1F-6D8C14AC8457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DC6FE45-8487-429B-B082-E4C2E570649C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7A1AFB41-D011-4800-BEB4-CEF26D37B6A2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F7F7CD8-B3B5-44BD-9645-4D52A97ECED9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37F142E-53E7-45A5-8509-1C783577BD83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615BC29-60F7-42FD-9DBA-1CF34E49FD10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9439C95-E6BB-4613-9E54-87B8F02F87B0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18A3F82-13C9-4034-B1D3-85C2107993D7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7143A3D-CE17-4E51-A8A5-10051C9DF68A}" type="datetime1">
              <a:rPr lang="de-DE" smtClean="0"/>
              <a:t>15.11.2012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AA07A4E-B831-4430-9ABF-AB0DFC68F575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9083B350-F40F-4BF5-A58B-6F28FA068BC0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2AE39F3-A591-4151-B447-CE7B881A0DD5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Faktor-IPS – Schulung</a:t>
            </a:r>
          </a:p>
          <a:p>
            <a:r>
              <a:rPr lang="de-DE" sz="1200" dirty="0"/>
              <a:t>Cornelius </a:t>
            </a:r>
            <a:r>
              <a:rPr lang="de-DE" sz="1200" dirty="0" err="1"/>
              <a:t>Dirmeier</a:t>
            </a:r>
            <a:endParaRPr lang="de-DE" sz="1200" dirty="0"/>
          </a:p>
          <a:p>
            <a:r>
              <a:rPr lang="de-DE" noProof="0" dirty="0" smtClean="0"/>
              <a:t>August 2012</a:t>
            </a:r>
          </a:p>
          <a:p>
            <a:endParaRPr lang="de-DE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indent="0"/>
            <a:r>
              <a:rPr lang="de-DE" dirty="0" smtClean="0"/>
              <a:t>ConVista Consulting AG</a:t>
            </a:r>
            <a:endParaRPr lang="de-DE" dirty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2000" y="180000"/>
            <a:ext cx="8639520" cy="900000"/>
          </a:xfrm>
        </p:spPr>
        <p:txBody>
          <a:bodyPr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</p:spPr>
        <p:txBody>
          <a:bodyPr/>
          <a:lstStyle/>
          <a:p>
            <a:fld id="{09FA588D-4105-4D25-A12E-5FA5F375B1D9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  <p:graphicFrame>
        <p:nvGraphicFramePr>
          <p:cNvPr id="6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3701571"/>
              </p:ext>
            </p:extLst>
          </p:nvPr>
        </p:nvGraphicFramePr>
        <p:xfrm>
          <a:off x="269448" y="1760896"/>
          <a:ext cx="8623727" cy="2814720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223838">
                <a:tc>
                  <a:txBody>
                    <a:bodyPr/>
                    <a:lstStyle/>
                    <a:p>
                      <a:pPr marL="346075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AutoNum type="arabicPeriod"/>
                        <a:tabLst>
                          <a:tab pos="539750" algn="l"/>
                        </a:tabLst>
                      </a:pPr>
                      <a:r>
                        <a:rPr kumimoji="0" 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Motivation</a:t>
                      </a: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b="0" dirty="0" smtClean="0"/>
                        <a:t>2. UML Refresh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dirty="0" smtClean="0"/>
                        <a:t>3. Modellierung &amp; Produktdefinition mit Faktor-IPS</a:t>
                      </a:r>
                      <a:endParaRPr lang="de-DE" sz="1600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5425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600" dirty="0" smtClean="0"/>
                        <a:t>4. Modellgetriebene Softwareentwicklung</a:t>
                      </a:r>
                      <a:endParaRPr lang="de-DE" sz="1600" dirty="0"/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519390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Webanwendung </a:t>
            </a:r>
            <a:r>
              <a:rPr lang="de-DE" dirty="0"/>
              <a:t>zur Erstellung eines Hausratangebots</a:t>
            </a:r>
          </a:p>
          <a:p>
            <a:endParaRPr lang="pt-BR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37F142E-53E7-45A5-8509-1C783577BD83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mo </a:t>
            </a:r>
            <a:r>
              <a:rPr lang="de-DE" dirty="0" smtClean="0"/>
              <a:t>Faktor-IP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6373171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8</Words>
  <Application>Microsoft Office PowerPoint</Application>
  <PresentationFormat>Bildschirmpräsentation (4:3)</PresentationFormat>
  <Paragraphs>15</Paragraphs>
  <Slides>3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4" baseType="lpstr">
      <vt:lpstr>Master - ConVista General </vt:lpstr>
      <vt:lpstr>PowerPoint-Präsentation</vt:lpstr>
      <vt:lpstr>Agenda</vt:lpstr>
      <vt:lpstr>Demo Faktor-IPS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nbschediwy</cp:lastModifiedBy>
  <cp:revision>1592</cp:revision>
  <cp:lastPrinted>2012-07-27T08:00:17Z</cp:lastPrinted>
  <dcterms:created xsi:type="dcterms:W3CDTF">2005-03-22T09:36:15Z</dcterms:created>
  <dcterms:modified xsi:type="dcterms:W3CDTF">2012-11-15T17:22:30Z</dcterms:modified>
  <cp:category>Master</cp:category>
  <cp:contentStatus>RELEASED</cp:contentStatus>
</cp:coreProperties>
</file>